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4" r:id="rId1"/>
  </p:sldMasterIdLst>
  <p:notesMasterIdLst>
    <p:notesMasterId r:id="rId25"/>
  </p:notesMasterIdLst>
  <p:sldIdLst>
    <p:sldId id="296" r:id="rId2"/>
    <p:sldId id="271" r:id="rId3"/>
    <p:sldId id="413" r:id="rId4"/>
    <p:sldId id="408" r:id="rId5"/>
    <p:sldId id="410" r:id="rId6"/>
    <p:sldId id="256" r:id="rId7"/>
    <p:sldId id="259" r:id="rId8"/>
    <p:sldId id="260" r:id="rId9"/>
    <p:sldId id="261" r:id="rId10"/>
    <p:sldId id="268" r:id="rId11"/>
    <p:sldId id="409" r:id="rId12"/>
    <p:sldId id="269" r:id="rId13"/>
    <p:sldId id="270" r:id="rId14"/>
    <p:sldId id="262" r:id="rId15"/>
    <p:sldId id="414" r:id="rId16"/>
    <p:sldId id="257" r:id="rId17"/>
    <p:sldId id="415" r:id="rId18"/>
    <p:sldId id="263" r:id="rId19"/>
    <p:sldId id="417" r:id="rId20"/>
    <p:sldId id="264" r:id="rId21"/>
    <p:sldId id="418" r:id="rId22"/>
    <p:sldId id="265" r:id="rId23"/>
    <p:sldId id="412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90" autoAdjust="0"/>
    <p:restoredTop sz="94660"/>
  </p:normalViewPr>
  <p:slideViewPr>
    <p:cSldViewPr snapToGrid="0">
      <p:cViewPr varScale="1">
        <p:scale>
          <a:sx n="85" d="100"/>
          <a:sy n="85" d="100"/>
        </p:scale>
        <p:origin x="33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098731-76CF-4361-B4BE-13FF0308F3A8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9B873A-75CA-4D02-B548-3C848A0D6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079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9B873A-75CA-4D02-B548-3C848A0D653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300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496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814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94887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480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5255876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0764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924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7500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91999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118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96600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775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825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183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5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579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327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310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85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061EF-C610-45E6-90B5-7E93F064CFF2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31B6B71-4E87-47C1-9DB8-44177CB729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14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16653" y="381000"/>
            <a:ext cx="5803348" cy="2058654"/>
          </a:xfrm>
        </p:spPr>
        <p:txBody>
          <a:bodyPr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ipkart Products analysis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0FE8702-C72A-4EA1-9E17-4D3F9AE402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4000" y="4599973"/>
            <a:ext cx="3363289" cy="682984"/>
          </a:xfrm>
        </p:spPr>
        <p:txBody>
          <a:bodyPr/>
          <a:lstStyle/>
          <a:p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ubmitted by</a:t>
            </a:r>
          </a:p>
          <a:p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WATHI VANDANA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047ED1D2-A425-4528-8F66-25708FA02B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111" y="1725242"/>
            <a:ext cx="9042399" cy="3761157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91370E4-A4CB-4029-A4ED-7719F705C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5333" y="666044"/>
            <a:ext cx="8088669" cy="1264355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:</a:t>
            </a:r>
          </a:p>
        </p:txBody>
      </p:sp>
    </p:spTree>
    <p:extLst>
      <p:ext uri="{BB962C8B-B14F-4D97-AF65-F5344CB8AC3E}">
        <p14:creationId xmlns:p14="http://schemas.microsoft.com/office/powerpoint/2010/main" val="17803455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943C8-9CD3-4290-8422-7F7082668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8537" y="846667"/>
            <a:ext cx="7915464" cy="916819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ading data into hdfs</a:t>
            </a:r>
            <a:r>
              <a:rPr lang="en-US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036CA-A815-4ABF-9B2E-D3F462345F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537" y="2103120"/>
            <a:ext cx="8624205" cy="215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333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34D12B7-D50A-44A3-A4F1-F01201AA512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r="20093" b="6352"/>
          <a:stretch/>
        </p:blipFill>
        <p:spPr>
          <a:xfrm>
            <a:off x="1515291" y="2127051"/>
            <a:ext cx="9231731" cy="2286905"/>
          </a:xfrm>
          <a:prstGeom prst="rect">
            <a:avLst/>
          </a:prstGeom>
        </p:spPr>
      </p:pic>
      <p:pic>
        <p:nvPicPr>
          <p:cNvPr id="7" name="Picture 6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2A1278F-1046-405D-89C4-32BD9F92461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3" t="71671" r="45603" b="6453"/>
          <a:stretch/>
        </p:blipFill>
        <p:spPr>
          <a:xfrm>
            <a:off x="1515291" y="4413956"/>
            <a:ext cx="9231731" cy="141111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0A7200F-9635-4FDF-9A65-5E489E997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7244" y="948267"/>
            <a:ext cx="7896758" cy="982133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ating tables in hive:</a:t>
            </a:r>
          </a:p>
        </p:txBody>
      </p:sp>
    </p:spTree>
    <p:extLst>
      <p:ext uri="{BB962C8B-B14F-4D97-AF65-F5344CB8AC3E}">
        <p14:creationId xmlns:p14="http://schemas.microsoft.com/office/powerpoint/2010/main" val="2388827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C1A02E1-6145-43FA-A8DE-7864B9818AC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r="40926" b="3166"/>
          <a:stretch/>
        </p:blipFill>
        <p:spPr>
          <a:xfrm>
            <a:off x="1444979" y="2050869"/>
            <a:ext cx="9580071" cy="33440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DBCF918-9D0B-402C-BFCC-E54F15D18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979" y="925690"/>
            <a:ext cx="7829022" cy="1004710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ading data into hive tables</a:t>
            </a:r>
            <a:r>
              <a:rPr lang="en-US" sz="2800" dirty="0">
                <a:solidFill>
                  <a:schemeClr val="tx1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7864727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9A2ADD83-7222-4D68-8BB3-358CA4FB7D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6845" y="2221962"/>
            <a:ext cx="6084712" cy="157524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44766A5B-264C-42BB-9891-0B9F1FA1E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101" y="519289"/>
            <a:ext cx="9578753" cy="1334466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alysis of data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94D4C9-4968-4FA8-A702-31E4AF00CCC6}"/>
              </a:ext>
            </a:extLst>
          </p:cNvPr>
          <p:cNvSpPr/>
          <p:nvPr/>
        </p:nvSpPr>
        <p:spPr>
          <a:xfrm>
            <a:off x="1476101" y="1140178"/>
            <a:ext cx="7598855" cy="460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2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duct analysis based on rating and number of reviews:</a:t>
            </a:r>
            <a:endParaRPr lang="en-US" sz="2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AB88B811-1C51-4E72-AB3E-22A978EBF6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800" y="4425245"/>
            <a:ext cx="4391378" cy="192625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A47E1A-0A3F-4695-9E39-0B2F3196BD44}"/>
              </a:ext>
            </a:extLst>
          </p:cNvPr>
          <p:cNvSpPr txBox="1"/>
          <p:nvPr/>
        </p:nvSpPr>
        <p:spPr>
          <a:xfrm>
            <a:off x="1569156" y="1309512"/>
            <a:ext cx="111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Query 1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B6DF54-E177-442B-BF57-268E3D6EEE6F}"/>
              </a:ext>
            </a:extLst>
          </p:cNvPr>
          <p:cNvSpPr txBox="1"/>
          <p:nvPr/>
        </p:nvSpPr>
        <p:spPr>
          <a:xfrm>
            <a:off x="1727200" y="4255911"/>
            <a:ext cx="1851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:</a:t>
            </a:r>
          </a:p>
        </p:txBody>
      </p:sp>
    </p:spTree>
    <p:extLst>
      <p:ext uri="{BB962C8B-B14F-4D97-AF65-F5344CB8AC3E}">
        <p14:creationId xmlns:p14="http://schemas.microsoft.com/office/powerpoint/2010/main" val="21381838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49A1E115-993C-436F-B538-AAF758CF4C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6889" y="1407033"/>
            <a:ext cx="7256487" cy="36826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37CD3E-C5EF-4442-980B-37E1887A7442}"/>
              </a:ext>
            </a:extLst>
          </p:cNvPr>
          <p:cNvSpPr txBox="1"/>
          <p:nvPr/>
        </p:nvSpPr>
        <p:spPr>
          <a:xfrm>
            <a:off x="1490133" y="564444"/>
            <a:ext cx="3861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phical representation:</a:t>
            </a:r>
          </a:p>
        </p:txBody>
      </p:sp>
    </p:spTree>
    <p:extLst>
      <p:ext uri="{BB962C8B-B14F-4D97-AF65-F5344CB8AC3E}">
        <p14:creationId xmlns:p14="http://schemas.microsoft.com/office/powerpoint/2010/main" val="28973490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knife&#10;&#10;Description automatically generated">
            <a:extLst>
              <a:ext uri="{FF2B5EF4-FFF2-40B4-BE49-F238E27FC236}">
                <a16:creationId xmlns:a16="http://schemas.microsoft.com/office/drawing/2014/main" id="{AD5A67FB-D2B8-4BE8-91EB-68A0A0534C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589" y="1953598"/>
            <a:ext cx="7863033" cy="9928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878924-123C-4CEE-A362-0BE71142D349}"/>
              </a:ext>
            </a:extLst>
          </p:cNvPr>
          <p:cNvSpPr txBox="1"/>
          <p:nvPr/>
        </p:nvSpPr>
        <p:spPr>
          <a:xfrm>
            <a:off x="1377244" y="632179"/>
            <a:ext cx="81847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duct analysis based on product rating and primary tree</a:t>
            </a:r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C0AE33EC-2CA8-49F4-A020-59133B63DC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 b="31621"/>
          <a:stretch/>
        </p:blipFill>
        <p:spPr>
          <a:xfrm>
            <a:off x="2099733" y="3577353"/>
            <a:ext cx="6050845" cy="235177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1E4A391-ECF4-40EB-B980-B545AD532AE6}"/>
              </a:ext>
            </a:extLst>
          </p:cNvPr>
          <p:cNvSpPr txBox="1"/>
          <p:nvPr/>
        </p:nvSpPr>
        <p:spPr>
          <a:xfrm>
            <a:off x="1461589" y="1280108"/>
            <a:ext cx="1541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ery 2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F6A0AE-4978-48EE-94EE-CBF3DDA42F4A}"/>
              </a:ext>
            </a:extLst>
          </p:cNvPr>
          <p:cNvSpPr txBox="1"/>
          <p:nvPr/>
        </p:nvSpPr>
        <p:spPr>
          <a:xfrm>
            <a:off x="1557867" y="3138311"/>
            <a:ext cx="1444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:</a:t>
            </a:r>
          </a:p>
        </p:txBody>
      </p:sp>
    </p:spTree>
    <p:extLst>
      <p:ext uri="{BB962C8B-B14F-4D97-AF65-F5344CB8AC3E}">
        <p14:creationId xmlns:p14="http://schemas.microsoft.com/office/powerpoint/2010/main" val="3886499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A6613586-3E30-4E92-8C50-60C5C12216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807" y="1603022"/>
            <a:ext cx="7611698" cy="38495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78F803-4333-40C6-8556-982185A14977}"/>
              </a:ext>
            </a:extLst>
          </p:cNvPr>
          <p:cNvSpPr txBox="1"/>
          <p:nvPr/>
        </p:nvSpPr>
        <p:spPr>
          <a:xfrm>
            <a:off x="1524001" y="564444"/>
            <a:ext cx="3827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phical representation:</a:t>
            </a:r>
          </a:p>
        </p:txBody>
      </p:sp>
    </p:spTree>
    <p:extLst>
      <p:ext uri="{BB962C8B-B14F-4D97-AF65-F5344CB8AC3E}">
        <p14:creationId xmlns:p14="http://schemas.microsoft.com/office/powerpoint/2010/main" val="6290007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468C1E16-160E-4DD8-B896-3B21AC139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778" y="1705185"/>
            <a:ext cx="6204371" cy="117702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7AD4FE3-2B02-4BBD-B4FA-27C3A7CE9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5289" y="508001"/>
            <a:ext cx="9519565" cy="530577"/>
          </a:xfrm>
        </p:spPr>
        <p:txBody>
          <a:bodyPr>
            <a:normAutofit/>
          </a:bodyPr>
          <a:lstStyle/>
          <a:p>
            <a:r>
              <a:rPr lang="en-US" sz="2400" cap="none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 analysis based on product rating and date: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3BBDC3CA-F46D-4FCE-82AA-1B4CBDBA89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978" y="3708685"/>
            <a:ext cx="4425244" cy="27245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B9AE63-E0A9-4C6E-AE79-A1E8AB0841B7}"/>
              </a:ext>
            </a:extLst>
          </p:cNvPr>
          <p:cNvSpPr txBox="1"/>
          <p:nvPr/>
        </p:nvSpPr>
        <p:spPr>
          <a:xfrm>
            <a:off x="1772354" y="3428999"/>
            <a:ext cx="1117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BC692D-0BE2-43FE-A4DF-82EC0F84D8B6}"/>
              </a:ext>
            </a:extLst>
          </p:cNvPr>
          <p:cNvSpPr txBox="1"/>
          <p:nvPr/>
        </p:nvSpPr>
        <p:spPr>
          <a:xfrm>
            <a:off x="1772354" y="1275644"/>
            <a:ext cx="10727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uery 3:</a:t>
            </a:r>
          </a:p>
        </p:txBody>
      </p:sp>
    </p:spTree>
    <p:extLst>
      <p:ext uri="{BB962C8B-B14F-4D97-AF65-F5344CB8AC3E}">
        <p14:creationId xmlns:p14="http://schemas.microsoft.com/office/powerpoint/2010/main" val="17260093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6ABE1DD1-0AFC-453E-A0C4-5CEF26292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155" y="1799997"/>
            <a:ext cx="6392167" cy="325800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52774B0-6968-4A60-A3E7-81A49AF6102C}"/>
              </a:ext>
            </a:extLst>
          </p:cNvPr>
          <p:cNvSpPr txBox="1"/>
          <p:nvPr/>
        </p:nvSpPr>
        <p:spPr>
          <a:xfrm>
            <a:off x="1411111" y="699911"/>
            <a:ext cx="3940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phical representation:</a:t>
            </a:r>
          </a:p>
        </p:txBody>
      </p:sp>
    </p:spTree>
    <p:extLst>
      <p:ext uri="{BB962C8B-B14F-4D97-AF65-F5344CB8AC3E}">
        <p14:creationId xmlns:p14="http://schemas.microsoft.com/office/powerpoint/2010/main" val="2274216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5332" y="609600"/>
            <a:ext cx="8088669" cy="1320800"/>
          </a:xfrm>
        </p:spPr>
        <p:txBody>
          <a:bodyPr>
            <a:normAutofit/>
          </a:bodyPr>
          <a:lstStyle/>
          <a:p>
            <a:br>
              <a:rPr lang="en-GB" sz="2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blem Statement: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677334" y="1711325"/>
            <a:ext cx="7345891" cy="1320800"/>
          </a:xfrm>
        </p:spPr>
        <p:txBody>
          <a:bodyPr>
            <a:noAutofit/>
          </a:bodyPr>
          <a:lstStyle/>
          <a:p>
            <a:pPr marL="431800" lvl="1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analyze variation of different dimensions of Flipkart E-Commerce site data.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339E3729-C153-482B-BC72-D5E2026002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089" y="1862121"/>
            <a:ext cx="6427248" cy="117796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935A032-F67B-4DD1-ADC0-A679398B2095}"/>
              </a:ext>
            </a:extLst>
          </p:cNvPr>
          <p:cNvSpPr txBox="1"/>
          <p:nvPr/>
        </p:nvSpPr>
        <p:spPr>
          <a:xfrm>
            <a:off x="1509350" y="378561"/>
            <a:ext cx="60174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duct analysis based on number of reviews</a:t>
            </a:r>
            <a:endParaRPr lang="en-US" dirty="0"/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38DB6A48-F68C-43AF-B202-06AA36CF5D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089" y="3635320"/>
            <a:ext cx="5260621" cy="28675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12C8B09-D5DC-4E4D-A35E-05A19400CFC0}"/>
              </a:ext>
            </a:extLst>
          </p:cNvPr>
          <p:cNvSpPr txBox="1"/>
          <p:nvPr/>
        </p:nvSpPr>
        <p:spPr>
          <a:xfrm>
            <a:off x="1509350" y="3428999"/>
            <a:ext cx="13806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tput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600E5C-A14E-4D46-B64E-A8CBB0793B22}"/>
              </a:ext>
            </a:extLst>
          </p:cNvPr>
          <p:cNvSpPr txBox="1"/>
          <p:nvPr/>
        </p:nvSpPr>
        <p:spPr>
          <a:xfrm>
            <a:off x="1509350" y="1411111"/>
            <a:ext cx="1516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ery 4:</a:t>
            </a:r>
          </a:p>
        </p:txBody>
      </p:sp>
    </p:spTree>
    <p:extLst>
      <p:ext uri="{BB962C8B-B14F-4D97-AF65-F5344CB8AC3E}">
        <p14:creationId xmlns:p14="http://schemas.microsoft.com/office/powerpoint/2010/main" val="570638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4B93FD19-5962-4D33-81B9-5C0BBA8308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444" y="1501422"/>
            <a:ext cx="7578271" cy="34613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1ED6005-3E1A-432D-A94B-4FFA3A98BC89}"/>
              </a:ext>
            </a:extLst>
          </p:cNvPr>
          <p:cNvSpPr txBox="1"/>
          <p:nvPr/>
        </p:nvSpPr>
        <p:spPr>
          <a:xfrm>
            <a:off x="1411111" y="733778"/>
            <a:ext cx="3940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phical representation:</a:t>
            </a:r>
          </a:p>
        </p:txBody>
      </p:sp>
    </p:spTree>
    <p:extLst>
      <p:ext uri="{BB962C8B-B14F-4D97-AF65-F5344CB8AC3E}">
        <p14:creationId xmlns:p14="http://schemas.microsoft.com/office/powerpoint/2010/main" val="42418635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2EEAB-2420-40AF-B1AF-498F816C8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103" y="992776"/>
            <a:ext cx="7797898" cy="809897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  <a:r>
              <a:rPr lang="en-US" sz="3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F30E99-DE99-4BE6-AC92-8D85337AA6AA}"/>
              </a:ext>
            </a:extLst>
          </p:cNvPr>
          <p:cNvSpPr/>
          <p:nvPr/>
        </p:nvSpPr>
        <p:spPr>
          <a:xfrm>
            <a:off x="1476103" y="2011681"/>
            <a:ext cx="958813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The Data modelling used is efficient enough to get a clear instance of data in all three perspective which are user, Flipkart and different products perspective. This dataset is a pre-crawled dataset, therefore lesser variation is found. Still a great vision of insights of Flipkart data can be analysed.</a:t>
            </a:r>
          </a:p>
        </p:txBody>
      </p:sp>
    </p:spTree>
    <p:extLst>
      <p:ext uri="{BB962C8B-B14F-4D97-AF65-F5344CB8AC3E}">
        <p14:creationId xmlns:p14="http://schemas.microsoft.com/office/powerpoint/2010/main" val="33032999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4FA44E6-410A-4DB4-82DB-07632C2FCA72}"/>
              </a:ext>
            </a:extLst>
          </p:cNvPr>
          <p:cNvSpPr txBox="1"/>
          <p:nvPr/>
        </p:nvSpPr>
        <p:spPr>
          <a:xfrm>
            <a:off x="3917244" y="2291644"/>
            <a:ext cx="47977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27194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C3AFF3-7D56-4CD7-A0E8-0641047A9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7909" y="1118028"/>
            <a:ext cx="9996763" cy="763024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ols used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B58C45-E0EA-46DE-9501-27A8152A6F84}"/>
              </a:ext>
            </a:extLst>
          </p:cNvPr>
          <p:cNvSpPr txBox="1"/>
          <p:nvPr/>
        </p:nvSpPr>
        <p:spPr>
          <a:xfrm>
            <a:off x="1319349" y="1881052"/>
            <a:ext cx="2272937" cy="1883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len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loudera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v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 bricks</a:t>
            </a:r>
          </a:p>
        </p:txBody>
      </p:sp>
      <p:pic>
        <p:nvPicPr>
          <p:cNvPr id="2050" name="Picture 2" descr="Image result for hive">
            <a:extLst>
              <a:ext uri="{FF2B5EF4-FFF2-40B4-BE49-F238E27FC236}">
                <a16:creationId xmlns:a16="http://schemas.microsoft.com/office/drawing/2014/main" id="{AD4C08B8-92EA-4493-92B1-CDC108251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2228" y="942450"/>
            <a:ext cx="1786209" cy="1605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talend">
            <a:extLst>
              <a:ext uri="{FF2B5EF4-FFF2-40B4-BE49-F238E27FC236}">
                <a16:creationId xmlns:a16="http://schemas.microsoft.com/office/drawing/2014/main" id="{371FE6BD-CB30-45D5-912B-059794DBF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388711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data bricks">
            <a:extLst>
              <a:ext uri="{FF2B5EF4-FFF2-40B4-BE49-F238E27FC236}">
                <a16:creationId xmlns:a16="http://schemas.microsoft.com/office/drawing/2014/main" id="{7034DEDB-1266-4CC8-B116-7D2365E6A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306" y="3925947"/>
            <a:ext cx="1905000" cy="155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Image result for cloudera">
            <a:extLst>
              <a:ext uri="{FF2B5EF4-FFF2-40B4-BE49-F238E27FC236}">
                <a16:creationId xmlns:a16="http://schemas.microsoft.com/office/drawing/2014/main" id="{9D4F0A13-7338-4371-A6FB-E56ED7938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757" y="942450"/>
            <a:ext cx="2294966" cy="1446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7326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9167" y="627016"/>
            <a:ext cx="9483636" cy="744584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set Description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358537" y="1502229"/>
            <a:ext cx="9614264" cy="2993572"/>
          </a:xfrm>
        </p:spPr>
        <p:txBody>
          <a:bodyPr>
            <a:noAutofit/>
          </a:bodyPr>
          <a:lstStyle/>
          <a:p>
            <a:pPr algn="just"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re are 14 Columns in Dataset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iq_id, crawl_timestamp, product_url, product_name, product_category_tree, pid, retail_price, discounted_price, image, is_FK_Advantage_product, description, product_rating, brand and number_of_reviews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set contains 20,000 rows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is a pre-crawled dataset, taken as subset of a bigger dataset (more than 5.8 million products) that was created by extracting data from Flipkart.com. </a:t>
            </a:r>
          </a:p>
          <a:p>
            <a:pPr algn="just"/>
            <a:endParaRPr lang="en-US" sz="1600" dirty="0"/>
          </a:p>
          <a:p>
            <a:pPr algn="just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50038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E635B88-CAB8-476D-989D-2B8BFC3C5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1285" y="609600"/>
            <a:ext cx="8062716" cy="918754"/>
          </a:xfrm>
        </p:spPr>
        <p:txBody>
          <a:bodyPr>
            <a:normAutofit/>
          </a:bodyPr>
          <a:lstStyle/>
          <a:p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ork Flow: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600E9C86-DA5F-484A-9017-90E5A70AC4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31" y="1528354"/>
            <a:ext cx="8062716" cy="350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032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8170D-8E8D-454D-B41A-632D3A2425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2756" y="474133"/>
            <a:ext cx="9505243" cy="733778"/>
          </a:xfrm>
        </p:spPr>
        <p:txBody>
          <a:bodyPr>
            <a:normAutofit/>
          </a:bodyPr>
          <a:lstStyle/>
          <a:p>
            <a:pPr algn="l"/>
            <a:r>
              <a:rPr lang="en-US" sz="28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cleaning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A88169F-642D-43A4-B1B1-7233635DD8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12" b="36029"/>
          <a:stretch/>
        </p:blipFill>
        <p:spPr>
          <a:xfrm>
            <a:off x="1275364" y="1548477"/>
            <a:ext cx="9641272" cy="982132"/>
          </a:xfrm>
          <a:prstGeom prst="rect">
            <a:avLst/>
          </a:prstGeo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EC4B1ADE-7364-4468-BEA9-641B4D50EDE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1212" b="52752"/>
          <a:stretch/>
        </p:blipFill>
        <p:spPr>
          <a:xfrm>
            <a:off x="1275364" y="3164636"/>
            <a:ext cx="9641272" cy="1162756"/>
          </a:xfrm>
          <a:prstGeom prst="rect">
            <a:avLst/>
          </a:prstGeom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BDACEB7C-AC6F-4150-BD40-EAD9879B6B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0426" y="4649453"/>
            <a:ext cx="2362530" cy="1619476"/>
          </a:xfrm>
          <a:prstGeom prst="rect">
            <a:avLst/>
          </a:prstGeom>
        </p:spPr>
      </p:pic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B676F0C9-B089-4DB6-834D-D6491AFC04B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3341" b="17241"/>
          <a:stretch/>
        </p:blipFill>
        <p:spPr>
          <a:xfrm>
            <a:off x="2307841" y="4534994"/>
            <a:ext cx="1853689" cy="1733935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69AF39FE-7AD0-44B5-BE8F-812F07309190}"/>
              </a:ext>
            </a:extLst>
          </p:cNvPr>
          <p:cNvSpPr/>
          <p:nvPr/>
        </p:nvSpPr>
        <p:spPr>
          <a:xfrm>
            <a:off x="4413956" y="5311144"/>
            <a:ext cx="1174044" cy="2960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61BB5FDD-6347-4945-84CF-FAD9C3D6B6C1}"/>
              </a:ext>
            </a:extLst>
          </p:cNvPr>
          <p:cNvSpPr/>
          <p:nvPr/>
        </p:nvSpPr>
        <p:spPr>
          <a:xfrm>
            <a:off x="5238044" y="2530609"/>
            <a:ext cx="349956" cy="68376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840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D61391-29CA-4DE7-A73C-ED02D424D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9977" y="940525"/>
            <a:ext cx="9903822" cy="757645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cleaning and creating dimensions and fact tables using Talend:</a:t>
            </a:r>
          </a:p>
        </p:txBody>
      </p:sp>
      <p:pic>
        <p:nvPicPr>
          <p:cNvPr id="5" name="Picture 4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C57EAF58-78A5-4F2E-B36E-C755A9FA25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934" y="2102313"/>
            <a:ext cx="9053688" cy="2277775"/>
          </a:xfrm>
          <a:prstGeom prst="rect">
            <a:avLst/>
          </a:prstGeom>
        </p:spPr>
      </p:pic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0770BE4F-8156-4314-9895-B28093F274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021" y="4297680"/>
            <a:ext cx="8116711" cy="1927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304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BB53C1A9-299C-4C16-979D-1446DFBA9B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711" y="1058398"/>
            <a:ext cx="9776177" cy="1973798"/>
          </a:xfrm>
          <a:prstGeom prst="rect">
            <a:avLst/>
          </a:prstGeom>
        </p:spPr>
      </p:pic>
      <p:pic>
        <p:nvPicPr>
          <p:cNvPr id="7" name="Picture 6" descr="A picture containing text, map&#10;&#10;Description automatically generated">
            <a:extLst>
              <a:ext uri="{FF2B5EF4-FFF2-40B4-BE49-F238E27FC236}">
                <a16:creationId xmlns:a16="http://schemas.microsoft.com/office/drawing/2014/main" id="{3A8EC864-97CE-4A2D-8343-2965A36FCA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112" y="3032196"/>
            <a:ext cx="9110133" cy="1620762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02C4EEB2-5309-4F61-9FDB-E565F78415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755" y="4652958"/>
            <a:ext cx="8624711" cy="148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416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92F9C8C8-741A-4A1F-82A4-BF0424B8E9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800" y="1625600"/>
            <a:ext cx="9386711" cy="38523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5E3DC8F-551D-4DC9-8E01-39EE5EA1C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2756" y="609600"/>
            <a:ext cx="8111245" cy="1016000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 table created in talend:</a:t>
            </a:r>
          </a:p>
        </p:txBody>
      </p:sp>
    </p:spTree>
    <p:extLst>
      <p:ext uri="{BB962C8B-B14F-4D97-AF65-F5344CB8AC3E}">
        <p14:creationId xmlns:p14="http://schemas.microsoft.com/office/powerpoint/2010/main" val="3270654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946</TotalTime>
  <Words>249</Words>
  <Application>Microsoft Office PowerPoint</Application>
  <PresentationFormat>Widescreen</PresentationFormat>
  <Paragraphs>45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alibri</vt:lpstr>
      <vt:lpstr>Times New Roman</vt:lpstr>
      <vt:lpstr>Trebuchet MS</vt:lpstr>
      <vt:lpstr>Wingdings</vt:lpstr>
      <vt:lpstr>Wingdings 3</vt:lpstr>
      <vt:lpstr>Facet</vt:lpstr>
      <vt:lpstr>think-cell Slide</vt:lpstr>
      <vt:lpstr>PowerPoint Presentation</vt:lpstr>
      <vt:lpstr> Problem Statement:</vt:lpstr>
      <vt:lpstr>Tools used:</vt:lpstr>
      <vt:lpstr>Dataset Description:</vt:lpstr>
      <vt:lpstr>Work Flow:</vt:lpstr>
      <vt:lpstr>Data cleaning:</vt:lpstr>
      <vt:lpstr>Data cleaning and creating dimensions and fact tables using Talend:</vt:lpstr>
      <vt:lpstr>PowerPoint Presentation</vt:lpstr>
      <vt:lpstr>Fact table created in talend:</vt:lpstr>
      <vt:lpstr>Data model:</vt:lpstr>
      <vt:lpstr>Loading data into hdfs:</vt:lpstr>
      <vt:lpstr>Creating tables in hive:</vt:lpstr>
      <vt:lpstr>Loading data into hive tables:</vt:lpstr>
      <vt:lpstr>Analysis of data:</vt:lpstr>
      <vt:lpstr>PowerPoint Presentation</vt:lpstr>
      <vt:lpstr>PowerPoint Presentation</vt:lpstr>
      <vt:lpstr>PowerPoint Presentation</vt:lpstr>
      <vt:lpstr>Product analysis based on product rating and date:</vt:lpstr>
      <vt:lpstr>PowerPoint Presentation</vt:lpstr>
      <vt:lpstr>PowerPoint Presentation</vt:lpstr>
      <vt:lpstr>PowerPoint Presentation</vt:lpstr>
      <vt:lpstr>Conclusion: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.Sravan Kumar</dc:creator>
  <cp:lastModifiedBy>V.Sravan Kumar</cp:lastModifiedBy>
  <cp:revision>54</cp:revision>
  <dcterms:created xsi:type="dcterms:W3CDTF">2020-03-03T12:14:49Z</dcterms:created>
  <dcterms:modified xsi:type="dcterms:W3CDTF">2020-03-07T10:29:51Z</dcterms:modified>
</cp:coreProperties>
</file>